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209186A5-6FE7-43FC-850B-31031F05B133}">
          <p14:sldIdLst>
            <p14:sldId id="2147475173"/>
            <p14:sldId id="2147475174"/>
            <p14:sldId id="2147475175"/>
            <p14:sldId id="2147475176"/>
            <p14:sldId id="2147475177"/>
            <p14:sldId id="2147475178"/>
            <p14:sldId id="2147475179"/>
            <p14:sldId id="2147475180"/>
            <p14:sldId id="2147475181"/>
          </p14:sldIdLst>
        </p14:section>
        <p14:section name="Brackets By Segment" id="{E5AC042D-E953-4678-8DD6-E0FFB63A1946}">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8" d="100"/>
          <a:sy n="48" d="100"/>
        </p:scale>
        <p:origin x="726" y="36"/>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721394986459</c:v>
                </c:pt>
                <c:pt idx="2">
                  <c:v>0.002715917198580908</c:v>
                </c:pt>
                <c:pt idx="3">
                  <c:v>0.006469600288010184</c:v>
                </c:pt>
                <c:pt idx="4">
                  <c:v>0.008818804051483218</c:v>
                </c:pt>
                <c:pt idx="5">
                  <c:v>0.009848554281347895</c:v>
                </c:pt>
                <c:pt idx="6">
                  <c:v>0.0058003203150329054</c:v>
                </c:pt>
                <c:pt idx="7">
                  <c:v>0.018070122323801126</c:v>
                </c:pt>
                <c:pt idx="8">
                  <c:v>0.011680382288567862</c:v>
                </c:pt>
                <c:pt idx="9">
                  <c:v>0.003539197882952761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5949374037325524</c:v>
                </c:pt>
                <c:pt idx="3">
                  <c:v>0.0006233114428646462</c:v>
                </c:pt>
                <c:pt idx="5">
                  <c:v>0.0017075603726103231</c:v>
                </c:pt>
                <c:pt idx="6">
                  <c:v>0.0010908444178564598</c:v>
                </c:pt>
                <c:pt idx="7">
                  <c:v>0.0035757817728328737</c:v>
                </c:pt>
                <c:pt idx="8">
                  <c:v>0.00402504801381508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2697946892376234</c:v>
                </c:pt>
                <c:pt idx="3">
                  <c:v>0.004719056951137517</c:v>
                </c:pt>
                <c:pt idx="4">
                  <c:v>0.0018413213374332488</c:v>
                </c:pt>
                <c:pt idx="5">
                  <c:v>0.0047246807894084355</c:v>
                </c:pt>
                <c:pt idx="6">
                  <c:v>0.012833794190321027</c:v>
                </c:pt>
                <c:pt idx="7">
                  <c:v>0.011373322159600279</c:v>
                </c:pt>
                <c:pt idx="8">
                  <c:v>0.026909253974230978</c:v>
                </c:pt>
                <c:pt idx="9">
                  <c:v>0.012338379469778747</c:v>
                </c:pt>
                <c:pt idx="10">
                  <c:v>0.0097365039150848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746505277060315</c:v>
                </c:pt>
                <c:pt idx="1">
                  <c:v>0.0016940314927444205</c:v>
                </c:pt>
                <c:pt idx="2">
                  <c:v>0.002269395476083368</c:v>
                </c:pt>
                <c:pt idx="3">
                  <c:v>0.006171565029007436</c:v>
                </c:pt>
                <c:pt idx="4">
                  <c:v>0.008240354044453774</c:v>
                </c:pt>
                <c:pt idx="5">
                  <c:v>0.009178592069722135</c:v>
                </c:pt>
                <c:pt idx="6">
                  <c:v>0.014362579224536978</c:v>
                </c:pt>
                <c:pt idx="7">
                  <c:v>0.028499939560331495</c:v>
                </c:pt>
                <c:pt idx="8">
                  <c:v>0.024777122753285405</c:v>
                </c:pt>
                <c:pt idx="9">
                  <c:v>0.006935093621552339</c:v>
                </c:pt>
                <c:pt idx="10">
                  <c:v>0.0331299008260071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35055645337374</c:v>
                </c:pt>
                <c:pt idx="1">
                  <c:v>0.0028480020224105505</c:v>
                </c:pt>
                <c:pt idx="2">
                  <c:v>0.0016650645195398729</c:v>
                </c:pt>
                <c:pt idx="3">
                  <c:v>0.0020126427298096045</c:v>
                </c:pt>
                <c:pt idx="4">
                  <c:v>0.003493956868261664</c:v>
                </c:pt>
                <c:pt idx="5">
                  <c:v>0.023443327030049768</c:v>
                </c:pt>
                <c:pt idx="6">
                  <c:v>0.020396274936075837</c:v>
                </c:pt>
                <c:pt idx="7">
                  <c:v>0.022621156912889642</c:v>
                </c:pt>
                <c:pt idx="8">
                  <c:v>0.04228242325011843</c:v>
                </c:pt>
                <c:pt idx="9">
                  <c:v>0.028250487565085112</c:v>
                </c:pt>
                <c:pt idx="10">
                  <c:v>0.00328513498860529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534202903043915</c:v>
                </c:pt>
                <c:pt idx="1">
                  <c:v>0.002260620014251906</c:v>
                </c:pt>
                <c:pt idx="2">
                  <c:v>0.004309566869789954</c:v>
                </c:pt>
                <c:pt idx="3">
                  <c:v>0.002255571654056649</c:v>
                </c:pt>
                <c:pt idx="4">
                  <c:v>0.005471039323418273</c:v>
                </c:pt>
                <c:pt idx="5">
                  <c:v>0.006631146270732057</c:v>
                </c:pt>
                <c:pt idx="6">
                  <c:v>0.01362193688312491</c:v>
                </c:pt>
                <c:pt idx="7">
                  <c:v>0.018519602471810562</c:v>
                </c:pt>
                <c:pt idx="8">
                  <c:v>0.039709023569994076</c:v>
                </c:pt>
                <c:pt idx="9">
                  <c:v>0.00745177813525319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75602240330489</c:v>
                </c:pt>
                <c:pt idx="1">
                  <c:v>0.0007264924494430596</c:v>
                </c:pt>
                <c:pt idx="2">
                  <c:v>0.0009851820640367423</c:v>
                </c:pt>
                <c:pt idx="3">
                  <c:v>0.0008996812514534029</c:v>
                </c:pt>
                <c:pt idx="4">
                  <c:v>0.0015630522196658546</c:v>
                </c:pt>
                <c:pt idx="5">
                  <c:v>0.004601343129427098</c:v>
                </c:pt>
                <c:pt idx="6">
                  <c:v>0.007613653660851652</c:v>
                </c:pt>
                <c:pt idx="7">
                  <c:v>0.002480691242603665</c:v>
                </c:pt>
                <c:pt idx="8">
                  <c:v>0.001003484942288472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2338831079864498</c:v>
                </c:pt>
                <c:pt idx="1">
                  <c:v>0.0008163466494807527</c:v>
                </c:pt>
                <c:pt idx="2">
                  <c:v>0.0011358230330673722</c:v>
                </c:pt>
                <c:pt idx="3">
                  <c:v>0.0018631293067805958</c:v>
                </c:pt>
                <c:pt idx="4">
                  <c:v>0.0061086337873999625</c:v>
                </c:pt>
                <c:pt idx="5">
                  <c:v>0.0053422721808594285</c:v>
                </c:pt>
                <c:pt idx="6">
                  <c:v>0.011708709727353054</c:v>
                </c:pt>
                <c:pt idx="7">
                  <c:v>0.016089838466359058</c:v>
                </c:pt>
                <c:pt idx="8">
                  <c:v>0.0063402718163672565</c:v>
                </c:pt>
                <c:pt idx="9">
                  <c:v>0.001299013257237878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2283974907138537</c:v>
                </c:pt>
                <c:pt idx="1">
                  <c:v>0.0012172734612534513</c:v>
                </c:pt>
                <c:pt idx="2">
                  <c:v>0.0027487579044518065</c:v>
                </c:pt>
                <c:pt idx="3">
                  <c:v>0.01335931207346219</c:v>
                </c:pt>
                <c:pt idx="4">
                  <c:v>0.010399295814741064</c:v>
                </c:pt>
                <c:pt idx="5">
                  <c:v>0.010059823595750368</c:v>
                </c:pt>
                <c:pt idx="6">
                  <c:v>0.005646838277871574</c:v>
                </c:pt>
                <c:pt idx="7">
                  <c:v>0.016440487212685942</c:v>
                </c:pt>
                <c:pt idx="8">
                  <c:v>0.013500672267151436</c:v>
                </c:pt>
                <c:pt idx="9">
                  <c:v>0.0015529605370731888</c:v>
                </c:pt>
                <c:pt idx="10">
                  <c:v>0.000725749550322337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3943019083519984</c:v>
                </c:pt>
                <c:pt idx="3">
                  <c:v>0.002775978269537971</c:v>
                </c:pt>
                <c:pt idx="5">
                  <c:v>0.0019749023285045237</c:v>
                </c:pt>
                <c:pt idx="6">
                  <c:v>0.001335431993102334</c:v>
                </c:pt>
                <c:pt idx="7">
                  <c:v>0.004218068002412251</c:v>
                </c:pt>
                <c:pt idx="8">
                  <c:v>0.0041470004081707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119656991224154</c:v>
                </c:pt>
                <c:pt idx="2">
                  <c:v>0.0005498796306097154</c:v>
                </c:pt>
                <c:pt idx="3">
                  <c:v>0.0054790220975229195</c:v>
                </c:pt>
                <c:pt idx="4">
                  <c:v>0.0021480234257978477</c:v>
                </c:pt>
                <c:pt idx="5">
                  <c:v>0.0072435202809828965</c:v>
                </c:pt>
                <c:pt idx="6">
                  <c:v>0.009192403527163818</c:v>
                </c:pt>
                <c:pt idx="7">
                  <c:v>0.023093550474951558</c:v>
                </c:pt>
                <c:pt idx="8">
                  <c:v>0.022894590773574284</c:v>
                </c:pt>
                <c:pt idx="9">
                  <c:v>0.014366914735640354</c:v>
                </c:pt>
                <c:pt idx="10">
                  <c:v>0.00431599500526063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576723522987829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79197057293319</c:v>
                </c:pt>
                <c:pt idx="1">
                  <c:v>0.0022741474994999182</c:v>
                </c:pt>
                <c:pt idx="2">
                  <c:v>0.004968498156167747</c:v>
                </c:pt>
                <c:pt idx="3">
                  <c:v>0.0075320592541419885</c:v>
                </c:pt>
                <c:pt idx="4">
                  <c:v>0.005652867557705702</c:v>
                </c:pt>
                <c:pt idx="5">
                  <c:v>0.01681016789576227</c:v>
                </c:pt>
                <c:pt idx="6">
                  <c:v>0.02246927951057372</c:v>
                </c:pt>
                <c:pt idx="7">
                  <c:v>0.025849711253803524</c:v>
                </c:pt>
                <c:pt idx="8">
                  <c:v>0.026954924877749777</c:v>
                </c:pt>
                <c:pt idx="9">
                  <c:v>0.0319403920716628</c:v>
                </c:pt>
                <c:pt idx="10">
                  <c:v>0.00984445915736808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1716314862516555</c:v>
                </c:pt>
                <c:pt idx="1">
                  <c:v>0.003723343665140903</c:v>
                </c:pt>
                <c:pt idx="2">
                  <c:v>0.0015282791169964113</c:v>
                </c:pt>
                <c:pt idx="3">
                  <c:v>0.0033419670121628575</c:v>
                </c:pt>
                <c:pt idx="4">
                  <c:v>0.009027742041112771</c:v>
                </c:pt>
                <c:pt idx="5">
                  <c:v>0.02383385261455253</c:v>
                </c:pt>
                <c:pt idx="6">
                  <c:v>0.021544636407007194</c:v>
                </c:pt>
                <c:pt idx="7">
                  <c:v>0.028005359681065715</c:v>
                </c:pt>
                <c:pt idx="8">
                  <c:v>0.039876469423101024</c:v>
                </c:pt>
                <c:pt idx="9">
                  <c:v>0.025318745089394322</c:v>
                </c:pt>
                <c:pt idx="10">
                  <c:v>0.001032899831543162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783334382924543</c:v>
                </c:pt>
                <c:pt idx="1">
                  <c:v>0.013830067103891943</c:v>
                </c:pt>
                <c:pt idx="2">
                  <c:v>0.015597828595250766</c:v>
                </c:pt>
                <c:pt idx="3">
                  <c:v>0.03313442385553859</c:v>
                </c:pt>
                <c:pt idx="4">
                  <c:v>0.03727445502707049</c:v>
                </c:pt>
                <c:pt idx="5">
                  <c:v>0.07337873488028746</c:v>
                </c:pt>
                <c:pt idx="6">
                  <c:v>0.0825184599942073</c:v>
                </c:pt>
                <c:pt idx="7">
                  <c:v>0.11670735042260552</c:v>
                </c:pt>
                <c:pt idx="8">
                  <c:v>0.12816454189675958</c:v>
                </c:pt>
                <c:pt idx="9">
                  <c:v>0.08445714009502081</c:v>
                </c:pt>
                <c:pt idx="10">
                  <c:v>0.0164664523965307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77603547950665</c:v>
                </c:pt>
                <c:pt idx="1">
                  <c:v>0.004339956962309663</c:v>
                </c:pt>
                <c:pt idx="2">
                  <c:v>0.003947380042106227</c:v>
                </c:pt>
                <c:pt idx="3">
                  <c:v>0.002780967962045965</c:v>
                </c:pt>
                <c:pt idx="4">
                  <c:v>0.007076811469380697</c:v>
                </c:pt>
                <c:pt idx="5">
                  <c:v>0.009302452787882687</c:v>
                </c:pt>
                <c:pt idx="6">
                  <c:v>0.01905047613364946</c:v>
                </c:pt>
                <c:pt idx="7">
                  <c:v>0.022120395473881775</c:v>
                </c:pt>
                <c:pt idx="8">
                  <c:v>0.022845689337065083</c:v>
                </c:pt>
                <c:pt idx="9">
                  <c:v>0.010997582812470888</c:v>
                </c:pt>
                <c:pt idx="10">
                  <c:v>0.000547348852036511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126691351108325</c:v>
                </c:pt>
                <c:pt idx="2">
                  <c:v>0.0018550337449188587</c:v>
                </c:pt>
                <c:pt idx="3">
                  <c:v>0.0006410954562026658</c:v>
                </c:pt>
                <c:pt idx="4">
                  <c:v>0.002969714718332409</c:v>
                </c:pt>
                <c:pt idx="5">
                  <c:v>0.0061289177053567056</c:v>
                </c:pt>
                <c:pt idx="6">
                  <c:v>0.004614826137941536</c:v>
                </c:pt>
                <c:pt idx="7">
                  <c:v>0.001197846326217007</c:v>
                </c:pt>
                <c:pt idx="8">
                  <c:v>0.0020921952181179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3943019083519984</c:v>
                </c:pt>
                <c:pt idx="3">
                  <c:v>0.002775978269537971</c:v>
                </c:pt>
                <c:pt idx="5">
                  <c:v>0.0019749023285045237</c:v>
                </c:pt>
                <c:pt idx="6">
                  <c:v>0.001754079444177327</c:v>
                </c:pt>
                <c:pt idx="7">
                  <c:v>0.004794791525400081</c:v>
                </c:pt>
                <c:pt idx="8">
                  <c:v>0.00444446284614731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930868453172967</c:v>
                </c:pt>
                <c:pt idx="1">
                  <c:v>0.0009383461157707815</c:v>
                </c:pt>
                <c:pt idx="2">
                  <c:v>0.0026024346436753737</c:v>
                </c:pt>
                <c:pt idx="3">
                  <c:v>0.011127809986472536</c:v>
                </c:pt>
                <c:pt idx="4">
                  <c:v>0.0036122555308603426</c:v>
                </c:pt>
                <c:pt idx="5">
                  <c:v>0.0066026308263663815</c:v>
                </c:pt>
                <c:pt idx="6">
                  <c:v>0.002499407120606975</c:v>
                </c:pt>
                <c:pt idx="7">
                  <c:v>0.01208145548235382</c:v>
                </c:pt>
                <c:pt idx="8">
                  <c:v>0.008191190652023346</c:v>
                </c:pt>
                <c:pt idx="9">
                  <c:v>0.00484890404160672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9383461157707815</c:v>
                </c:pt>
                <c:pt idx="2">
                  <c:v>0.001673190870588963</c:v>
                </c:pt>
                <c:pt idx="5">
                  <c:v>0.0020167002415889183</c:v>
                </c:pt>
                <c:pt idx="6">
                  <c:v>0.0015395326218382824</c:v>
                </c:pt>
                <c:pt idx="7">
                  <c:v>0.002398921206881847</c:v>
                </c:pt>
                <c:pt idx="8">
                  <c:v>0.003029979081340417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5107927277765804</c:v>
                </c:pt>
                <c:pt idx="4">
                  <c:v>0.0017161211954268463</c:v>
                </c:pt>
                <c:pt idx="5">
                  <c:v>0.0063962660704269935</c:v>
                </c:pt>
                <c:pt idx="6">
                  <c:v>0.008697595303344609</c:v>
                </c:pt>
                <c:pt idx="7">
                  <c:v>0.009059814414001475</c:v>
                </c:pt>
                <c:pt idx="8">
                  <c:v>0.022210299341947293</c:v>
                </c:pt>
                <c:pt idx="9">
                  <c:v>0.007313812615716967</c:v>
                </c:pt>
                <c:pt idx="10">
                  <c:v>0.00626447531495844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794303030960421</c:v>
                </c:pt>
                <c:pt idx="3">
                  <c:v>0.008038736001698518</c:v>
                </c:pt>
                <c:pt idx="4">
                  <c:v>0.0020986660773940433</c:v>
                </c:pt>
                <c:pt idx="5">
                  <c:v>0.006951619077429124</c:v>
                </c:pt>
                <c:pt idx="6">
                  <c:v>0.010178245414480883</c:v>
                </c:pt>
                <c:pt idx="7">
                  <c:v>0.01824989802751474</c:v>
                </c:pt>
                <c:pt idx="8">
                  <c:v>0.012901882432162871</c:v>
                </c:pt>
                <c:pt idx="9">
                  <c:v>0.011638073224141662</c:v>
                </c:pt>
                <c:pt idx="10">
                  <c:v>0.01389444836335080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964570047281746</c:v>
                </c:pt>
                <c:pt idx="2">
                  <c:v>0.0010332714043895027</c:v>
                </c:pt>
                <c:pt idx="3">
                  <c:v>0.004467573043902422</c:v>
                </c:pt>
                <c:pt idx="4">
                  <c:v>0.010237677142811912</c:v>
                </c:pt>
                <c:pt idx="5">
                  <c:v>0.0025253225771895735</c:v>
                </c:pt>
                <c:pt idx="6">
                  <c:v>0.0030446009381332397</c:v>
                </c:pt>
                <c:pt idx="7">
                  <c:v>0.0035131706302403433</c:v>
                </c:pt>
                <c:pt idx="8">
                  <c:v>0.00560452062221334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34607202072018</c:v>
                </c:pt>
                <c:pt idx="1">
                  <c:v>0.0008206016943306956</c:v>
                </c:pt>
                <c:pt idx="2">
                  <c:v>0.0008478369776818321</c:v>
                </c:pt>
                <c:pt idx="3">
                  <c:v>0.0014712515551774065</c:v>
                </c:pt>
                <c:pt idx="4">
                  <c:v>0.007579732577732339</c:v>
                </c:pt>
                <c:pt idx="5">
                  <c:v>0.018336116690356802</c:v>
                </c:pt>
                <c:pt idx="6">
                  <c:v>0.015134263585794309</c:v>
                </c:pt>
                <c:pt idx="7">
                  <c:v>0.01981446031587608</c:v>
                </c:pt>
                <c:pt idx="8">
                  <c:v>0.023715253148463858</c:v>
                </c:pt>
                <c:pt idx="9">
                  <c:v>0.014655558072184483</c:v>
                </c:pt>
                <c:pt idx="10">
                  <c:v>0.0078629692956365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2901672170462031</c:v>
                </c:pt>
                <c:pt idx="3">
                  <c:v>0.0005738034712509087</c:v>
                </c:pt>
                <c:pt idx="4">
                  <c:v>0.0013766479966707333</c:v>
                </c:pt>
                <c:pt idx="5">
                  <c:v>0.0035147409843467588</c:v>
                </c:pt>
                <c:pt idx="6">
                  <c:v>0.0027047781058724563</c:v>
                </c:pt>
                <c:pt idx="7">
                  <c:v>0.0030407961934363747</c:v>
                </c:pt>
                <c:pt idx="8">
                  <c:v>0.001451357672766099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377291113337873</c:v>
                </c:pt>
                <c:pt idx="1">
                  <c:v>0.0007275523675856428</c:v>
                </c:pt>
                <c:pt idx="2">
                  <c:v>0.0005914768196188772</c:v>
                </c:pt>
                <c:pt idx="3">
                  <c:v>0.0022763997248398888</c:v>
                </c:pt>
                <c:pt idx="4">
                  <c:v>0.008391036584893085</c:v>
                </c:pt>
                <c:pt idx="5">
                  <c:v>0.006816626093084254</c:v>
                </c:pt>
                <c:pt idx="6">
                  <c:v>0.017652099860342545</c:v>
                </c:pt>
                <c:pt idx="7">
                  <c:v>0.020057794193297084</c:v>
                </c:pt>
                <c:pt idx="8">
                  <c:v>0.011601423757272813</c:v>
                </c:pt>
                <c:pt idx="9">
                  <c:v>0.0055328988509698845</c:v>
                </c:pt>
                <c:pt idx="10">
                  <c:v>0.001193835392599848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721394986459</c:v>
                </c:pt>
                <c:pt idx="2">
                  <c:v>0.002715917198580908</c:v>
                </c:pt>
                <c:pt idx="3">
                  <c:v>0.006469600288010184</c:v>
                </c:pt>
                <c:pt idx="4">
                  <c:v>0.008818804051483218</c:v>
                </c:pt>
                <c:pt idx="5">
                  <c:v>0.009848554281347895</c:v>
                </c:pt>
                <c:pt idx="6">
                  <c:v>0.0058003203150329054</c:v>
                </c:pt>
                <c:pt idx="7">
                  <c:v>0.018070122323801126</c:v>
                </c:pt>
                <c:pt idx="8">
                  <c:v>0.011680382288567862</c:v>
                </c:pt>
                <c:pt idx="9">
                  <c:v>0.003539197882952761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5715629596531041</c:v>
                </c:pt>
                <c:pt idx="4">
                  <c:v>0.0009567145502349202</c:v>
                </c:pt>
                <c:pt idx="5">
                  <c:v>0.004289724709881665</c:v>
                </c:pt>
                <c:pt idx="6">
                  <c:v>0.0016155635007388401</c:v>
                </c:pt>
                <c:pt idx="7">
                  <c:v>0.004109457681893315</c:v>
                </c:pt>
                <c:pt idx="8">
                  <c:v>0.001715562656365610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2697946892376234</c:v>
                </c:pt>
                <c:pt idx="3">
                  <c:v>0.004719056951137517</c:v>
                </c:pt>
                <c:pt idx="4">
                  <c:v>0.0018413213374332488</c:v>
                </c:pt>
                <c:pt idx="5">
                  <c:v>0.0047246807894084355</c:v>
                </c:pt>
                <c:pt idx="6">
                  <c:v>0.012833794190321027</c:v>
                </c:pt>
                <c:pt idx="7">
                  <c:v>0.011373322159600279</c:v>
                </c:pt>
                <c:pt idx="8">
                  <c:v>0.026909253974230978</c:v>
                </c:pt>
                <c:pt idx="9">
                  <c:v>0.012338379469778747</c:v>
                </c:pt>
                <c:pt idx="10">
                  <c:v>0.0097365039150848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6293431378912836</c:v>
                </c:pt>
                <c:pt idx="7">
                  <c:v>0.0019159741416494734</c:v>
                </c:pt>
                <c:pt idx="8">
                  <c:v>0.0015971254405960753</c:v>
                </c:pt>
                <c:pt idx="9">
                  <c:v>0.006878089411296356</c:v>
                </c:pt>
                <c:pt idx="10">
                  <c:v>0.00234982341367967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746505277060315</c:v>
                </c:pt>
                <c:pt idx="1">
                  <c:v>0.0016940314927444205</c:v>
                </c:pt>
                <c:pt idx="2">
                  <c:v>0.002269395476083368</c:v>
                </c:pt>
                <c:pt idx="3">
                  <c:v>0.006171565029007436</c:v>
                </c:pt>
                <c:pt idx="4">
                  <c:v>0.008240354044453774</c:v>
                </c:pt>
                <c:pt idx="5">
                  <c:v>0.009178592069722135</c:v>
                </c:pt>
                <c:pt idx="6">
                  <c:v>0.014362579224536978</c:v>
                </c:pt>
                <c:pt idx="7">
                  <c:v>0.028499939560331495</c:v>
                </c:pt>
                <c:pt idx="8">
                  <c:v>0.024777122753285405</c:v>
                </c:pt>
                <c:pt idx="9">
                  <c:v>0.006935093621552339</c:v>
                </c:pt>
                <c:pt idx="10">
                  <c:v>0.0331299008260071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35055645337374</c:v>
                </c:pt>
                <c:pt idx="1">
                  <c:v>0.0028480020224105505</c:v>
                </c:pt>
                <c:pt idx="2">
                  <c:v>0.0016650645195398729</c:v>
                </c:pt>
                <c:pt idx="3">
                  <c:v>0.0020126427298096045</c:v>
                </c:pt>
                <c:pt idx="4">
                  <c:v>0.003493956868261664</c:v>
                </c:pt>
                <c:pt idx="5">
                  <c:v>0.023443327030049768</c:v>
                </c:pt>
                <c:pt idx="6">
                  <c:v>0.020396274936075837</c:v>
                </c:pt>
                <c:pt idx="7">
                  <c:v>0.022621156912889642</c:v>
                </c:pt>
                <c:pt idx="8">
                  <c:v>0.04228242325011843</c:v>
                </c:pt>
                <c:pt idx="9">
                  <c:v>0.028250487565085112</c:v>
                </c:pt>
                <c:pt idx="10">
                  <c:v>0.00328513498860529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534202903043915</c:v>
                </c:pt>
                <c:pt idx="1">
                  <c:v>0.002260620014251906</c:v>
                </c:pt>
                <c:pt idx="2">
                  <c:v>0.004309566869789954</c:v>
                </c:pt>
                <c:pt idx="3">
                  <c:v>0.002255571654056649</c:v>
                </c:pt>
                <c:pt idx="4">
                  <c:v>0.005471039323418273</c:v>
                </c:pt>
                <c:pt idx="5">
                  <c:v>0.006631146270732057</c:v>
                </c:pt>
                <c:pt idx="6">
                  <c:v>0.01362193688312491</c:v>
                </c:pt>
                <c:pt idx="7">
                  <c:v>0.018519602471810562</c:v>
                </c:pt>
                <c:pt idx="8">
                  <c:v>0.039709023569994076</c:v>
                </c:pt>
                <c:pt idx="9">
                  <c:v>0.00745177813525319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75602240330489</c:v>
                </c:pt>
                <c:pt idx="1">
                  <c:v>0.0007264924494430596</c:v>
                </c:pt>
                <c:pt idx="2">
                  <c:v>0.0009851820640367423</c:v>
                </c:pt>
                <c:pt idx="3">
                  <c:v>0.0008996812514534029</c:v>
                </c:pt>
                <c:pt idx="4">
                  <c:v>0.0015630522196658546</c:v>
                </c:pt>
                <c:pt idx="5">
                  <c:v>0.004601343129427098</c:v>
                </c:pt>
                <c:pt idx="6">
                  <c:v>0.007613653660851652</c:v>
                </c:pt>
                <c:pt idx="7">
                  <c:v>0.002480691242603665</c:v>
                </c:pt>
                <c:pt idx="8">
                  <c:v>0.001003484942288472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2338831079864498</c:v>
                </c:pt>
                <c:pt idx="1">
                  <c:v>0.0008163466494807527</c:v>
                </c:pt>
                <c:pt idx="2">
                  <c:v>0.0011358230330673722</c:v>
                </c:pt>
                <c:pt idx="3">
                  <c:v>0.0018631293067805958</c:v>
                </c:pt>
                <c:pt idx="4">
                  <c:v>0.0061086337873999625</c:v>
                </c:pt>
                <c:pt idx="5">
                  <c:v>0.0053422721808594285</c:v>
                </c:pt>
                <c:pt idx="6">
                  <c:v>0.011708709727353054</c:v>
                </c:pt>
                <c:pt idx="7">
                  <c:v>0.016089838466359058</c:v>
                </c:pt>
                <c:pt idx="8">
                  <c:v>0.0063402718163672565</c:v>
                </c:pt>
                <c:pt idx="9">
                  <c:v>0.001299013257237878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2283974907138537</c:v>
                </c:pt>
                <c:pt idx="1">
                  <c:v>0.0012172734612534513</c:v>
                </c:pt>
                <c:pt idx="2">
                  <c:v>0.0027487579044518065</c:v>
                </c:pt>
                <c:pt idx="3">
                  <c:v>0.01335931207346219</c:v>
                </c:pt>
                <c:pt idx="4">
                  <c:v>0.010399295814741064</c:v>
                </c:pt>
                <c:pt idx="5">
                  <c:v>0.010059823595750368</c:v>
                </c:pt>
                <c:pt idx="6">
                  <c:v>0.005646838277871574</c:v>
                </c:pt>
                <c:pt idx="7">
                  <c:v>0.016440487212685942</c:v>
                </c:pt>
                <c:pt idx="8">
                  <c:v>0.013500672267151436</c:v>
                </c:pt>
                <c:pt idx="9">
                  <c:v>0.0015529605370731888</c:v>
                </c:pt>
                <c:pt idx="10">
                  <c:v>0.000725749550322337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401641215212906</c:v>
                </c:pt>
                <c:pt idx="4">
                  <c:v>0.0025501673259900166</c:v>
                </c:pt>
                <c:pt idx="5">
                  <c:v>0.0035556965300212423</c:v>
                </c:pt>
                <c:pt idx="6">
                  <c:v>0.0017860739078562468</c:v>
                </c:pt>
                <c:pt idx="7">
                  <c:v>0.004131796953928287</c:v>
                </c:pt>
                <c:pt idx="8">
                  <c:v>0.001285422371203062</c:v>
                </c:pt>
                <c:pt idx="9">
                  <c:v>0.0011529823757568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119656991224154</c:v>
                </c:pt>
                <c:pt idx="2">
                  <c:v>0.0005498796306097154</c:v>
                </c:pt>
                <c:pt idx="3">
                  <c:v>0.0054790220975229195</c:v>
                </c:pt>
                <c:pt idx="4">
                  <c:v>0.0021480234257978477</c:v>
                </c:pt>
                <c:pt idx="5">
                  <c:v>0.0072435202809828965</c:v>
                </c:pt>
                <c:pt idx="6">
                  <c:v>0.009192403527163818</c:v>
                </c:pt>
                <c:pt idx="7">
                  <c:v>0.023093550474951558</c:v>
                </c:pt>
                <c:pt idx="8">
                  <c:v>0.022894590773574284</c:v>
                </c:pt>
                <c:pt idx="9">
                  <c:v>0.014366914735640354</c:v>
                </c:pt>
                <c:pt idx="10">
                  <c:v>0.00431599500526063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79197057293319</c:v>
                </c:pt>
                <c:pt idx="1">
                  <c:v>0.0022741474994999182</c:v>
                </c:pt>
                <c:pt idx="2">
                  <c:v>0.004968498156167747</c:v>
                </c:pt>
                <c:pt idx="3">
                  <c:v>0.0075320592541419885</c:v>
                </c:pt>
                <c:pt idx="4">
                  <c:v>0.005652867557705702</c:v>
                </c:pt>
                <c:pt idx="5">
                  <c:v>0.01681016789576227</c:v>
                </c:pt>
                <c:pt idx="6">
                  <c:v>0.02246927951057372</c:v>
                </c:pt>
                <c:pt idx="7">
                  <c:v>0.025849711253803524</c:v>
                </c:pt>
                <c:pt idx="8">
                  <c:v>0.026954924877749777</c:v>
                </c:pt>
                <c:pt idx="9">
                  <c:v>0.0319403920716628</c:v>
                </c:pt>
                <c:pt idx="10">
                  <c:v>0.00984445915736808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1716314862516555</c:v>
                </c:pt>
                <c:pt idx="1">
                  <c:v>0.003723343665140903</c:v>
                </c:pt>
                <c:pt idx="2">
                  <c:v>0.0015282791169964113</c:v>
                </c:pt>
                <c:pt idx="3">
                  <c:v>0.0033419670121628575</c:v>
                </c:pt>
                <c:pt idx="4">
                  <c:v>0.009027742041112771</c:v>
                </c:pt>
                <c:pt idx="5">
                  <c:v>0.02383385261455253</c:v>
                </c:pt>
                <c:pt idx="6">
                  <c:v>0.021544636407007194</c:v>
                </c:pt>
                <c:pt idx="7">
                  <c:v>0.028005359681065715</c:v>
                </c:pt>
                <c:pt idx="8">
                  <c:v>0.039876469423101024</c:v>
                </c:pt>
                <c:pt idx="9">
                  <c:v>0.025318745089394322</c:v>
                </c:pt>
                <c:pt idx="10">
                  <c:v>0.001032899831543162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77603547950665</c:v>
                </c:pt>
                <c:pt idx="1">
                  <c:v>0.004339956962309663</c:v>
                </c:pt>
                <c:pt idx="2">
                  <c:v>0.003947380042106227</c:v>
                </c:pt>
                <c:pt idx="3">
                  <c:v>0.002780967962045965</c:v>
                </c:pt>
                <c:pt idx="4">
                  <c:v>0.007076811469380697</c:v>
                </c:pt>
                <c:pt idx="5">
                  <c:v>0.009302452787882687</c:v>
                </c:pt>
                <c:pt idx="6">
                  <c:v>0.01905047613364946</c:v>
                </c:pt>
                <c:pt idx="7">
                  <c:v>0.022120395473881775</c:v>
                </c:pt>
                <c:pt idx="8">
                  <c:v>0.022845689337065083</c:v>
                </c:pt>
                <c:pt idx="9">
                  <c:v>0.010997582812470888</c:v>
                </c:pt>
                <c:pt idx="10">
                  <c:v>0.000547348852036511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126691351108325</c:v>
                </c:pt>
                <c:pt idx="2">
                  <c:v>0.0018550337449188587</c:v>
                </c:pt>
                <c:pt idx="3">
                  <c:v>0.0006410954562026658</c:v>
                </c:pt>
                <c:pt idx="4">
                  <c:v>0.002969714718332409</c:v>
                </c:pt>
                <c:pt idx="5">
                  <c:v>0.0061289177053567056</c:v>
                </c:pt>
                <c:pt idx="6">
                  <c:v>0.004614826137941536</c:v>
                </c:pt>
                <c:pt idx="7">
                  <c:v>0.001197846326217007</c:v>
                </c:pt>
                <c:pt idx="8">
                  <c:v>0.0020921952181179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930868453172967</c:v>
                </c:pt>
                <c:pt idx="1">
                  <c:v>0.0009383461157707815</c:v>
                </c:pt>
                <c:pt idx="2">
                  <c:v>0.0026024346436753737</c:v>
                </c:pt>
                <c:pt idx="3">
                  <c:v>0.011127809986472536</c:v>
                </c:pt>
                <c:pt idx="4">
                  <c:v>0.0036122555308603426</c:v>
                </c:pt>
                <c:pt idx="5">
                  <c:v>0.0066026308263663815</c:v>
                </c:pt>
                <c:pt idx="6">
                  <c:v>0.002499407120606975</c:v>
                </c:pt>
                <c:pt idx="7">
                  <c:v>0.01208145548235382</c:v>
                </c:pt>
                <c:pt idx="8">
                  <c:v>0.008191190652023346</c:v>
                </c:pt>
                <c:pt idx="9">
                  <c:v>0.00484890404160672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8555044263266814</c:v>
                </c:pt>
                <c:pt idx="3">
                  <c:v>0.004304477539612479</c:v>
                </c:pt>
                <c:pt idx="4">
                  <c:v>0.00249800064031081</c:v>
                </c:pt>
                <c:pt idx="5">
                  <c:v>0.0018944437177037627</c:v>
                </c:pt>
                <c:pt idx="6">
                  <c:v>0.0005686073079345226</c:v>
                </c:pt>
                <c:pt idx="7">
                  <c:v>0.004926013258328581</c:v>
                </c:pt>
                <c:pt idx="8">
                  <c:v>0.000762715795676927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5107927277765804</c:v>
                </c:pt>
                <c:pt idx="4">
                  <c:v>0.0017161211954268463</c:v>
                </c:pt>
                <c:pt idx="5">
                  <c:v>0.0063962660704269935</c:v>
                </c:pt>
                <c:pt idx="6">
                  <c:v>0.008697595303344609</c:v>
                </c:pt>
                <c:pt idx="7">
                  <c:v>0.009059814414001475</c:v>
                </c:pt>
                <c:pt idx="8">
                  <c:v>0.022210299341947293</c:v>
                </c:pt>
                <c:pt idx="9">
                  <c:v>0.007313812615716967</c:v>
                </c:pt>
                <c:pt idx="10">
                  <c:v>0.00626447531495844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794303030960421</c:v>
                </c:pt>
                <c:pt idx="3">
                  <c:v>0.008038736001698518</c:v>
                </c:pt>
                <c:pt idx="4">
                  <c:v>0.0020986660773940433</c:v>
                </c:pt>
                <c:pt idx="5">
                  <c:v>0.006951619077429124</c:v>
                </c:pt>
                <c:pt idx="6">
                  <c:v>0.010178245414480883</c:v>
                </c:pt>
                <c:pt idx="7">
                  <c:v>0.01824989802751474</c:v>
                </c:pt>
                <c:pt idx="8">
                  <c:v>0.012901882432162871</c:v>
                </c:pt>
                <c:pt idx="9">
                  <c:v>0.011638073224141662</c:v>
                </c:pt>
                <c:pt idx="10">
                  <c:v>0.01389444836335080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34607202072018</c:v>
                </c:pt>
                <c:pt idx="1">
                  <c:v>0.0008206016943306956</c:v>
                </c:pt>
                <c:pt idx="2">
                  <c:v>0.0008478369776818321</c:v>
                </c:pt>
                <c:pt idx="3">
                  <c:v>0.0014712515551774065</c:v>
                </c:pt>
                <c:pt idx="4">
                  <c:v>0.007579732577732339</c:v>
                </c:pt>
                <c:pt idx="5">
                  <c:v>0.018336116690356802</c:v>
                </c:pt>
                <c:pt idx="6">
                  <c:v>0.015134263585794309</c:v>
                </c:pt>
                <c:pt idx="7">
                  <c:v>0.01981446031587608</c:v>
                </c:pt>
                <c:pt idx="8">
                  <c:v>0.023715253148463858</c:v>
                </c:pt>
                <c:pt idx="9">
                  <c:v>0.014655558072184483</c:v>
                </c:pt>
                <c:pt idx="10">
                  <c:v>0.0078629692956365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2901672170462031</c:v>
                </c:pt>
                <c:pt idx="3">
                  <c:v>0.0005738034712509087</c:v>
                </c:pt>
                <c:pt idx="4">
                  <c:v>0.0013766479966707333</c:v>
                </c:pt>
                <c:pt idx="5">
                  <c:v>0.0035147409843467588</c:v>
                </c:pt>
                <c:pt idx="6">
                  <c:v>0.0027047781058724563</c:v>
                </c:pt>
                <c:pt idx="7">
                  <c:v>0.0030407961934363747</c:v>
                </c:pt>
                <c:pt idx="8">
                  <c:v>0.001451357672766099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377291113337873</c:v>
                </c:pt>
                <c:pt idx="1">
                  <c:v>0.0007275523675856428</c:v>
                </c:pt>
                <c:pt idx="2">
                  <c:v>0.0005914768196188772</c:v>
                </c:pt>
                <c:pt idx="3">
                  <c:v>0.0022763997248398888</c:v>
                </c:pt>
                <c:pt idx="4">
                  <c:v>0.008391036584893085</c:v>
                </c:pt>
                <c:pt idx="5">
                  <c:v>0.006816626093084254</c:v>
                </c:pt>
                <c:pt idx="6">
                  <c:v>0.017652099860342545</c:v>
                </c:pt>
                <c:pt idx="7">
                  <c:v>0.020057794193297084</c:v>
                </c:pt>
                <c:pt idx="8">
                  <c:v>0.011601423757272813</c:v>
                </c:pt>
                <c:pt idx="9">
                  <c:v>0.0055328988509698845</c:v>
                </c:pt>
                <c:pt idx="10">
                  <c:v>0.001193835392599848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1721394986459</c:v>
                </c:pt>
                <c:pt idx="2">
                  <c:v>0.002715917198580908</c:v>
                </c:pt>
                <c:pt idx="3">
                  <c:v>0.006469600288010184</c:v>
                </c:pt>
                <c:pt idx="4">
                  <c:v>0.008818804051483218</c:v>
                </c:pt>
                <c:pt idx="5">
                  <c:v>0.009848554281347895</c:v>
                </c:pt>
                <c:pt idx="6">
                  <c:v>0.0058003203150329054</c:v>
                </c:pt>
                <c:pt idx="7">
                  <c:v>0.018070122323801126</c:v>
                </c:pt>
                <c:pt idx="8">
                  <c:v>0.011680382288567862</c:v>
                </c:pt>
                <c:pt idx="9">
                  <c:v>0.003539197882952761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2697946892376234</c:v>
                </c:pt>
                <c:pt idx="3">
                  <c:v>0.004719056951137517</c:v>
                </c:pt>
                <c:pt idx="4">
                  <c:v>0.0018413213374332488</c:v>
                </c:pt>
                <c:pt idx="5">
                  <c:v>0.0047246807894084355</c:v>
                </c:pt>
                <c:pt idx="6">
                  <c:v>0.012833794190321027</c:v>
                </c:pt>
                <c:pt idx="7">
                  <c:v>0.011373322159600279</c:v>
                </c:pt>
                <c:pt idx="8">
                  <c:v>0.026909253974230978</c:v>
                </c:pt>
                <c:pt idx="9">
                  <c:v>0.012338379469778747</c:v>
                </c:pt>
                <c:pt idx="10">
                  <c:v>0.0097365039150848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07415752744658849</c:v>
                </c:pt>
                <c:pt idx="6">
                  <c:v>0.000984816634172425</c:v>
                </c:pt>
                <c:pt idx="7">
                  <c:v>0.0019673687865562873</c:v>
                </c:pt>
                <c:pt idx="8">
                  <c:v>0.0045820361872820695</c:v>
                </c:pt>
                <c:pt idx="9">
                  <c:v>0.000623480073118824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746505277060315</c:v>
                </c:pt>
                <c:pt idx="1">
                  <c:v>0.0016940314927444205</c:v>
                </c:pt>
                <c:pt idx="2">
                  <c:v>0.002269395476083368</c:v>
                </c:pt>
                <c:pt idx="3">
                  <c:v>0.006171565029007436</c:v>
                </c:pt>
                <c:pt idx="4">
                  <c:v>0.008240354044453774</c:v>
                </c:pt>
                <c:pt idx="5">
                  <c:v>0.009178592069722135</c:v>
                </c:pt>
                <c:pt idx="6">
                  <c:v>0.014362579224536978</c:v>
                </c:pt>
                <c:pt idx="7">
                  <c:v>0.028499939560331495</c:v>
                </c:pt>
                <c:pt idx="8">
                  <c:v>0.024777122753285405</c:v>
                </c:pt>
                <c:pt idx="9">
                  <c:v>0.006935093621552339</c:v>
                </c:pt>
                <c:pt idx="10">
                  <c:v>0.0331299008260071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1450268035248628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35055645337374</c:v>
                </c:pt>
                <c:pt idx="1">
                  <c:v>0.0028480020224105505</c:v>
                </c:pt>
                <c:pt idx="2">
                  <c:v>0.0016650645195398729</c:v>
                </c:pt>
                <c:pt idx="3">
                  <c:v>0.0020126427298096045</c:v>
                </c:pt>
                <c:pt idx="4">
                  <c:v>0.003493956868261664</c:v>
                </c:pt>
                <c:pt idx="5">
                  <c:v>0.023443327030049768</c:v>
                </c:pt>
                <c:pt idx="6">
                  <c:v>0.020396274936075837</c:v>
                </c:pt>
                <c:pt idx="7">
                  <c:v>0.022621156912889642</c:v>
                </c:pt>
                <c:pt idx="8">
                  <c:v>0.04228242325011843</c:v>
                </c:pt>
                <c:pt idx="9">
                  <c:v>0.028250487565085112</c:v>
                </c:pt>
                <c:pt idx="10">
                  <c:v>0.00328513498860529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748833032465532</c:v>
                </c:pt>
                <c:pt idx="1">
                  <c:v>0.004327087775888702</c:v>
                </c:pt>
                <c:pt idx="2">
                  <c:v>0.0070088500392985155</c:v>
                </c:pt>
                <c:pt idx="3">
                  <c:v>0.02719000889247167</c:v>
                </c:pt>
                <c:pt idx="4">
                  <c:v>0.020044455361478204</c:v>
                </c:pt>
                <c:pt idx="5">
                  <c:v>0.048239760252505266</c:v>
                </c:pt>
                <c:pt idx="6">
                  <c:v>0.05342626857889881</c:v>
                </c:pt>
                <c:pt idx="7">
                  <c:v>0.07343909873367724</c:v>
                </c:pt>
                <c:pt idx="8">
                  <c:v>0.09406718943195141</c:v>
                </c:pt>
                <c:pt idx="9">
                  <c:v>0.04445554048478769</c:v>
                </c:pt>
                <c:pt idx="10">
                  <c:v>0.02804173713230622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534202903043915</c:v>
                </c:pt>
                <c:pt idx="1">
                  <c:v>0.002260620014251906</c:v>
                </c:pt>
                <c:pt idx="2">
                  <c:v>0.004309566869789954</c:v>
                </c:pt>
                <c:pt idx="3">
                  <c:v>0.002255571654056649</c:v>
                </c:pt>
                <c:pt idx="4">
                  <c:v>0.005471039323418273</c:v>
                </c:pt>
                <c:pt idx="5">
                  <c:v>0.006631146270732057</c:v>
                </c:pt>
                <c:pt idx="6">
                  <c:v>0.01362193688312491</c:v>
                </c:pt>
                <c:pt idx="7">
                  <c:v>0.018519602471810562</c:v>
                </c:pt>
                <c:pt idx="8">
                  <c:v>0.039709023569994076</c:v>
                </c:pt>
                <c:pt idx="9">
                  <c:v>0.00745177813525319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75602240330489</c:v>
                </c:pt>
                <c:pt idx="1">
                  <c:v>0.0007264924494430596</c:v>
                </c:pt>
                <c:pt idx="2">
                  <c:v>0.0009851820640367423</c:v>
                </c:pt>
                <c:pt idx="3">
                  <c:v>0.0008996812514534029</c:v>
                </c:pt>
                <c:pt idx="4">
                  <c:v>0.0015630522196658546</c:v>
                </c:pt>
                <c:pt idx="5">
                  <c:v>0.004601343129427098</c:v>
                </c:pt>
                <c:pt idx="6">
                  <c:v>0.007613653660851652</c:v>
                </c:pt>
                <c:pt idx="7">
                  <c:v>0.002480691242603665</c:v>
                </c:pt>
                <c:pt idx="8">
                  <c:v>0.001003484942288472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2338831079864498</c:v>
                </c:pt>
                <c:pt idx="1">
                  <c:v>0.0008163466494807527</c:v>
                </c:pt>
                <c:pt idx="2">
                  <c:v>0.0011358230330673722</c:v>
                </c:pt>
                <c:pt idx="3">
                  <c:v>0.0018631293067805958</c:v>
                </c:pt>
                <c:pt idx="4">
                  <c:v>0.0061086337873999625</c:v>
                </c:pt>
                <c:pt idx="5">
                  <c:v>0.0053422721808594285</c:v>
                </c:pt>
                <c:pt idx="6">
                  <c:v>0.011708709727353054</c:v>
                </c:pt>
                <c:pt idx="7">
                  <c:v>0.016089838466359058</c:v>
                </c:pt>
                <c:pt idx="8">
                  <c:v>0.0063402718163672565</c:v>
                </c:pt>
                <c:pt idx="9">
                  <c:v>0.001299013257237878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9383461157707815</c:v>
                </c:pt>
                <c:pt idx="2">
                  <c:v>0.001673190870588963</c:v>
                </c:pt>
                <c:pt idx="5">
                  <c:v>0.002027214747318125</c:v>
                </c:pt>
                <c:pt idx="6">
                  <c:v>0.0015571193082890124</c:v>
                </c:pt>
                <c:pt idx="7">
                  <c:v>0.0026113466142792534</c:v>
                </c:pt>
                <c:pt idx="8">
                  <c:v>0.003359679373068937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2283974907138537</c:v>
                </c:pt>
                <c:pt idx="1">
                  <c:v>0.0012172734612534513</c:v>
                </c:pt>
                <c:pt idx="2">
                  <c:v>0.0027487579044518065</c:v>
                </c:pt>
                <c:pt idx="3">
                  <c:v>0.01335931207346219</c:v>
                </c:pt>
                <c:pt idx="4">
                  <c:v>0.010399295814741064</c:v>
                </c:pt>
                <c:pt idx="5">
                  <c:v>0.010059823595750368</c:v>
                </c:pt>
                <c:pt idx="6">
                  <c:v>0.005646838277871574</c:v>
                </c:pt>
                <c:pt idx="7">
                  <c:v>0.016440487212685942</c:v>
                </c:pt>
                <c:pt idx="8">
                  <c:v>0.013500672267151436</c:v>
                </c:pt>
                <c:pt idx="9">
                  <c:v>0.0015529605370731888</c:v>
                </c:pt>
                <c:pt idx="10">
                  <c:v>0.000725749550322337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119656991224154</c:v>
                </c:pt>
                <c:pt idx="2">
                  <c:v>0.0005498796306097154</c:v>
                </c:pt>
                <c:pt idx="3">
                  <c:v>0.0054790220975229195</c:v>
                </c:pt>
                <c:pt idx="4">
                  <c:v>0.0021480234257978477</c:v>
                </c:pt>
                <c:pt idx="5">
                  <c:v>0.0072435202809828965</c:v>
                </c:pt>
                <c:pt idx="6">
                  <c:v>0.009192403527163818</c:v>
                </c:pt>
                <c:pt idx="7">
                  <c:v>0.023093550474951558</c:v>
                </c:pt>
                <c:pt idx="8">
                  <c:v>0.022894590773574284</c:v>
                </c:pt>
                <c:pt idx="9">
                  <c:v>0.014366914735640354</c:v>
                </c:pt>
                <c:pt idx="10">
                  <c:v>0.00431599500526063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15172813773883657</c:v>
                </c:pt>
                <c:pt idx="7">
                  <c:v>0.003838889754054749</c:v>
                </c:pt>
                <c:pt idx="8">
                  <c:v>0.0032672931197027925</c:v>
                </c:pt>
                <c:pt idx="9">
                  <c:v>0.000821857887832700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79197057293319</c:v>
                </c:pt>
                <c:pt idx="1">
                  <c:v>0.0022741474994999182</c:v>
                </c:pt>
                <c:pt idx="2">
                  <c:v>0.004968498156167747</c:v>
                </c:pt>
                <c:pt idx="3">
                  <c:v>0.0075320592541419885</c:v>
                </c:pt>
                <c:pt idx="4">
                  <c:v>0.005652867557705702</c:v>
                </c:pt>
                <c:pt idx="5">
                  <c:v>0.01681016789576227</c:v>
                </c:pt>
                <c:pt idx="6">
                  <c:v>0.02246927951057372</c:v>
                </c:pt>
                <c:pt idx="7">
                  <c:v>0.025849711253803524</c:v>
                </c:pt>
                <c:pt idx="8">
                  <c:v>0.026954924877749777</c:v>
                </c:pt>
                <c:pt idx="9">
                  <c:v>0.0319403920716628</c:v>
                </c:pt>
                <c:pt idx="10">
                  <c:v>0.00984445915736808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277306638252071</c:v>
                </c:pt>
                <c:pt idx="4">
                  <c:v>0.006621930151197946</c:v>
                </c:pt>
                <c:pt idx="5">
                  <c:v>0.002630313498313543</c:v>
                </c:pt>
                <c:pt idx="6">
                  <c:v>0.0008077835443588311</c:v>
                </c:pt>
                <c:pt idx="7">
                  <c:v>0.004455763674741757</c:v>
                </c:pt>
                <c:pt idx="8">
                  <c:v>0.00520870230132958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5828777492955622</c:v>
                </c:pt>
                <c:pt idx="8">
                  <c:v>0.002027756320126438</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1716314862516555</c:v>
                </c:pt>
                <c:pt idx="1">
                  <c:v>0.003723343665140903</c:v>
                </c:pt>
                <c:pt idx="2">
                  <c:v>0.0015282791169964113</c:v>
                </c:pt>
                <c:pt idx="3">
                  <c:v>0.0033419670121628575</c:v>
                </c:pt>
                <c:pt idx="4">
                  <c:v>0.009027742041112771</c:v>
                </c:pt>
                <c:pt idx="5">
                  <c:v>0.02383385261455253</c:v>
                </c:pt>
                <c:pt idx="6">
                  <c:v>0.021544636407007194</c:v>
                </c:pt>
                <c:pt idx="7">
                  <c:v>0.028005359681065715</c:v>
                </c:pt>
                <c:pt idx="8">
                  <c:v>0.039876469423101024</c:v>
                </c:pt>
                <c:pt idx="9">
                  <c:v>0.025318745089394322</c:v>
                </c:pt>
                <c:pt idx="10">
                  <c:v>0.001032899831543162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177603547950665</c:v>
                </c:pt>
                <c:pt idx="1">
                  <c:v>0.004339956962309663</c:v>
                </c:pt>
                <c:pt idx="2">
                  <c:v>0.003947380042106227</c:v>
                </c:pt>
                <c:pt idx="3">
                  <c:v>0.002780967962045965</c:v>
                </c:pt>
                <c:pt idx="4">
                  <c:v>0.007076811469380697</c:v>
                </c:pt>
                <c:pt idx="5">
                  <c:v>0.009302452787882687</c:v>
                </c:pt>
                <c:pt idx="6">
                  <c:v>0.01905047613364946</c:v>
                </c:pt>
                <c:pt idx="7">
                  <c:v>0.022120395473881775</c:v>
                </c:pt>
                <c:pt idx="8">
                  <c:v>0.022845689337065083</c:v>
                </c:pt>
                <c:pt idx="9">
                  <c:v>0.010997582812470888</c:v>
                </c:pt>
                <c:pt idx="10">
                  <c:v>0.000547348852036511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126691351108325</c:v>
                </c:pt>
                <c:pt idx="2">
                  <c:v>0.0018550337449188587</c:v>
                </c:pt>
                <c:pt idx="3">
                  <c:v>0.0006410954562026658</c:v>
                </c:pt>
                <c:pt idx="4">
                  <c:v>0.002969714718332409</c:v>
                </c:pt>
                <c:pt idx="5">
                  <c:v>0.0061289177053567056</c:v>
                </c:pt>
                <c:pt idx="6">
                  <c:v>0.004614826137941536</c:v>
                </c:pt>
                <c:pt idx="7">
                  <c:v>0.001197846326217007</c:v>
                </c:pt>
                <c:pt idx="8">
                  <c:v>0.0020921952181179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20284029385434</c:v>
                </c:pt>
                <c:pt idx="1">
                  <c:v>0.0013768219416101365</c:v>
                </c:pt>
                <c:pt idx="2">
                  <c:v>0.0010278635903489238</c:v>
                </c:pt>
                <c:pt idx="3">
                  <c:v>0.0027310636871734576</c:v>
                </c:pt>
                <c:pt idx="4">
                  <c:v>0.005538137295766567</c:v>
                </c:pt>
                <c:pt idx="5">
                  <c:v>0.0065955486855138945</c:v>
                </c:pt>
                <c:pt idx="6">
                  <c:v>0.009964396339017691</c:v>
                </c:pt>
                <c:pt idx="7">
                  <c:v>0.010300855959700369</c:v>
                </c:pt>
                <c:pt idx="8">
                  <c:v>0.0047563341441257</c:v>
                </c:pt>
                <c:pt idx="9">
                  <c:v>0.000622714441641301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930868453172967</c:v>
                </c:pt>
                <c:pt idx="1">
                  <c:v>0.0009383461157707815</c:v>
                </c:pt>
                <c:pt idx="2">
                  <c:v>0.0026024346436753737</c:v>
                </c:pt>
                <c:pt idx="3">
                  <c:v>0.011127809986472536</c:v>
                </c:pt>
                <c:pt idx="4">
                  <c:v>0.0036122555308603426</c:v>
                </c:pt>
                <c:pt idx="5">
                  <c:v>0.0066026308263663815</c:v>
                </c:pt>
                <c:pt idx="6">
                  <c:v>0.002499407120606975</c:v>
                </c:pt>
                <c:pt idx="7">
                  <c:v>0.01208145548235382</c:v>
                </c:pt>
                <c:pt idx="8">
                  <c:v>0.008191190652023346</c:v>
                </c:pt>
                <c:pt idx="9">
                  <c:v>0.00484890404160672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5107927277765804</c:v>
                </c:pt>
                <c:pt idx="4">
                  <c:v>0.0017161211954268463</c:v>
                </c:pt>
                <c:pt idx="5">
                  <c:v>0.0063962660704269935</c:v>
                </c:pt>
                <c:pt idx="6">
                  <c:v>0.008697595303344609</c:v>
                </c:pt>
                <c:pt idx="7">
                  <c:v>0.009059814414001475</c:v>
                </c:pt>
                <c:pt idx="8">
                  <c:v>0.022210299341947293</c:v>
                </c:pt>
                <c:pt idx="9">
                  <c:v>0.007313812615716967</c:v>
                </c:pt>
                <c:pt idx="10">
                  <c:v>0.00626447531495844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9714715681197956</c:v>
                </c:pt>
                <c:pt idx="6">
                  <c:v>0.0019327305265335508</c:v>
                </c:pt>
                <c:pt idx="7">
                  <c:v>0.004383549435656707</c:v>
                </c:pt>
                <c:pt idx="8">
                  <c:v>0.005445578445229159</c:v>
                </c:pt>
                <c:pt idx="9">
                  <c:v>0.0060801894582945045</c:v>
                </c:pt>
                <c:pt idx="10">
                  <c:v>0.00515998125559557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12799922555501106</c:v>
                </c:pt>
                <c:pt idx="6">
                  <c:v>0.0011649684500364443</c:v>
                </c:pt>
                <c:pt idx="7">
                  <c:v>0.0011008904863616324</c:v>
                </c:pt>
                <c:pt idx="8">
                  <c:v>0.005565758634818512</c:v>
                </c:pt>
                <c:pt idx="9">
                  <c:v>0.000769420018421979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794303030960421</c:v>
                </c:pt>
                <c:pt idx="3">
                  <c:v>0.008038736001698518</c:v>
                </c:pt>
                <c:pt idx="4">
                  <c:v>0.0020986660773940433</c:v>
                </c:pt>
                <c:pt idx="5">
                  <c:v>0.006951619077429124</c:v>
                </c:pt>
                <c:pt idx="6">
                  <c:v>0.010178245414480883</c:v>
                </c:pt>
                <c:pt idx="7">
                  <c:v>0.01824989802751474</c:v>
                </c:pt>
                <c:pt idx="8">
                  <c:v>0.012901882432162871</c:v>
                </c:pt>
                <c:pt idx="9">
                  <c:v>0.011638073224141662</c:v>
                </c:pt>
                <c:pt idx="10">
                  <c:v>0.01389444836335080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1118993592597873</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34607202072018</c:v>
                </c:pt>
                <c:pt idx="1">
                  <c:v>0.0008206016943306956</c:v>
                </c:pt>
                <c:pt idx="2">
                  <c:v>0.0008478369776818321</c:v>
                </c:pt>
                <c:pt idx="3">
                  <c:v>0.0014712515551774065</c:v>
                </c:pt>
                <c:pt idx="4">
                  <c:v>0.007579732577732339</c:v>
                </c:pt>
                <c:pt idx="5">
                  <c:v>0.018336116690356802</c:v>
                </c:pt>
                <c:pt idx="6">
                  <c:v>0.015134263585794309</c:v>
                </c:pt>
                <c:pt idx="7">
                  <c:v>0.01981446031587608</c:v>
                </c:pt>
                <c:pt idx="8">
                  <c:v>0.023715253148463858</c:v>
                </c:pt>
                <c:pt idx="9">
                  <c:v>0.014655558072184483</c:v>
                </c:pt>
                <c:pt idx="10">
                  <c:v>0.00786296929563655</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094620862476378</c:v>
                </c:pt>
                <c:pt idx="1">
                  <c:v>0.0006394548459641071</c:v>
                </c:pt>
                <c:pt idx="2">
                  <c:v>0.001143337777562449</c:v>
                </c:pt>
                <c:pt idx="3">
                  <c:v>0.0008704806001064997</c:v>
                </c:pt>
                <c:pt idx="4">
                  <c:v>0.0036610319833939</c:v>
                </c:pt>
                <c:pt idx="5">
                  <c:v>0.0064383866035792065</c:v>
                </c:pt>
                <c:pt idx="6">
                  <c:v>0.014211979048799579</c:v>
                </c:pt>
                <c:pt idx="7">
                  <c:v>0.01119267430049475</c:v>
                </c:pt>
                <c:pt idx="8">
                  <c:v>0.025597206184587943</c:v>
                </c:pt>
                <c:pt idx="9">
                  <c:v>0.00557237193358482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2901672170462031</c:v>
                </c:pt>
                <c:pt idx="3">
                  <c:v>0.0005738034712509087</c:v>
                </c:pt>
                <c:pt idx="4">
                  <c:v>0.0013766479966707333</c:v>
                </c:pt>
                <c:pt idx="5">
                  <c:v>0.0035147409843467588</c:v>
                </c:pt>
                <c:pt idx="6">
                  <c:v>0.0027047781058724563</c:v>
                </c:pt>
                <c:pt idx="7">
                  <c:v>0.0030407961934363747</c:v>
                </c:pt>
                <c:pt idx="8">
                  <c:v>0.001451357672766099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377291113337873</c:v>
                </c:pt>
                <c:pt idx="1">
                  <c:v>0.0007275523675856428</c:v>
                </c:pt>
                <c:pt idx="2">
                  <c:v>0.0005914768196188772</c:v>
                </c:pt>
                <c:pt idx="3">
                  <c:v>0.0022763997248398888</c:v>
                </c:pt>
                <c:pt idx="4">
                  <c:v>0.008391036584893085</c:v>
                </c:pt>
                <c:pt idx="5">
                  <c:v>0.006816626093084254</c:v>
                </c:pt>
                <c:pt idx="6">
                  <c:v>0.017652099860342545</c:v>
                </c:pt>
                <c:pt idx="7">
                  <c:v>0.020057794193297084</c:v>
                </c:pt>
                <c:pt idx="8">
                  <c:v>0.011601423757272813</c:v>
                </c:pt>
                <c:pt idx="9">
                  <c:v>0.0055328988509698845</c:v>
                </c:pt>
                <c:pt idx="10">
                  <c:v>0.001193835392599848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5949374037325524</c:v>
                </c:pt>
                <c:pt idx="3">
                  <c:v>0.0006233114428646462</c:v>
                </c:pt>
                <c:pt idx="5">
                  <c:v>0.0017075603726103231</c:v>
                </c:pt>
                <c:pt idx="6">
                  <c:v>0.0013049926210790099</c:v>
                </c:pt>
                <c:pt idx="7">
                  <c:v>0.003737445320812045</c:v>
                </c:pt>
                <c:pt idx="8">
                  <c:v>0.004400693321424958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5715629596531041</c:v>
                </c:pt>
                <c:pt idx="4">
                  <c:v>0.0009567145502349202</c:v>
                </c:pt>
                <c:pt idx="5">
                  <c:v>0.004289724709881665</c:v>
                </c:pt>
                <c:pt idx="6">
                  <c:v>0.0016155635007388401</c:v>
                </c:pt>
                <c:pt idx="7">
                  <c:v>0.004109457681893315</c:v>
                </c:pt>
                <c:pt idx="8">
                  <c:v>0.001715562656365610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546231595560126</c:v>
                </c:pt>
                <c:pt idx="3">
                  <c:v>0.004025104095272611</c:v>
                </c:pt>
                <c:pt idx="4">
                  <c:v>0.009613351992774749</c:v>
                </c:pt>
                <c:pt idx="5">
                  <c:v>0.0025013886447392856</c:v>
                </c:pt>
                <c:pt idx="6">
                  <c:v>0.0006714948046681194</c:v>
                </c:pt>
                <c:pt idx="7">
                  <c:v>0.003470364711076251</c:v>
                </c:pt>
                <c:pt idx="8">
                  <c:v>0.0059867235034145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527211492062555</c:v>
                </c:pt>
                <c:pt idx="6">
                  <c:v>0.0006238487186630458</c:v>
                </c:pt>
                <c:pt idx="7">
                  <c:v>0.002969549577702798</c:v>
                </c:pt>
                <c:pt idx="8">
                  <c:v>0.00390370034518568</c:v>
                </c:pt>
                <c:pt idx="9">
                  <c:v>0.003865050445280695</c:v>
                </c:pt>
                <c:pt idx="10">
                  <c:v>0.00547557729089912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546231595560126</c:v>
                </c:pt>
                <c:pt idx="3">
                  <c:v>0.004025104095272611</c:v>
                </c:pt>
                <c:pt idx="4">
                  <c:v>0.009613351992774749</c:v>
                </c:pt>
                <c:pt idx="5">
                  <c:v>0.0025013886447392856</c:v>
                </c:pt>
                <c:pt idx="6">
                  <c:v>0.0006714948046681194</c:v>
                </c:pt>
                <c:pt idx="7">
                  <c:v>0.003470364711076251</c:v>
                </c:pt>
                <c:pt idx="8">
                  <c:v>0.0059867235034145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9">
                  <c:v>0.000643728051831028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783334382924543</c:v>
                </c:pt>
                <c:pt idx="1">
                  <c:v>0.013830067103891943</c:v>
                </c:pt>
                <c:pt idx="2">
                  <c:v>0.015597828595250766</c:v>
                </c:pt>
                <c:pt idx="3">
                  <c:v>0.03313442385553859</c:v>
                </c:pt>
                <c:pt idx="4">
                  <c:v>0.03727445502707049</c:v>
                </c:pt>
                <c:pt idx="5">
                  <c:v>0.07337873488028746</c:v>
                </c:pt>
                <c:pt idx="6">
                  <c:v>0.0825184599942073</c:v>
                </c:pt>
                <c:pt idx="7">
                  <c:v>0.11670735042260552</c:v>
                </c:pt>
                <c:pt idx="8">
                  <c:v>0.12816454189675958</c:v>
                </c:pt>
                <c:pt idx="9">
                  <c:v>0.08445714009502081</c:v>
                </c:pt>
                <c:pt idx="10">
                  <c:v>0.0164664523965307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401641215212906</c:v>
                </c:pt>
                <c:pt idx="4">
                  <c:v>0.0025501673259900166</c:v>
                </c:pt>
                <c:pt idx="5">
                  <c:v>0.0035556965300212423</c:v>
                </c:pt>
                <c:pt idx="6">
                  <c:v>0.0017860739078562468</c:v>
                </c:pt>
                <c:pt idx="7">
                  <c:v>0.004131796953928287</c:v>
                </c:pt>
                <c:pt idx="8">
                  <c:v>0.001285422371203062</c:v>
                </c:pt>
                <c:pt idx="9">
                  <c:v>0.0011529823757568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964570047281746</c:v>
                </c:pt>
                <c:pt idx="2">
                  <c:v>0.0010332714043895027</c:v>
                </c:pt>
                <c:pt idx="3">
                  <c:v>0.004467573043902422</c:v>
                </c:pt>
                <c:pt idx="4">
                  <c:v>0.010237677142811912</c:v>
                </c:pt>
                <c:pt idx="5">
                  <c:v>0.0025253225771895735</c:v>
                </c:pt>
                <c:pt idx="6">
                  <c:v>0.0030446009381332397</c:v>
                </c:pt>
                <c:pt idx="7">
                  <c:v>0.0035131706302403433</c:v>
                </c:pt>
                <c:pt idx="8">
                  <c:v>0.00560452062221334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6293431378912836</c:v>
                </c:pt>
                <c:pt idx="7">
                  <c:v>0.0019159741416494734</c:v>
                </c:pt>
                <c:pt idx="8">
                  <c:v>0.0015971254405960753</c:v>
                </c:pt>
                <c:pt idx="9">
                  <c:v>0.006878089411296356</c:v>
                </c:pt>
                <c:pt idx="10">
                  <c:v>0.00234982341367967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9">
                  <c:v>0.001282859743528743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748833032465532</c:v>
                </c:pt>
                <c:pt idx="1">
                  <c:v>0.004327087775888702</c:v>
                </c:pt>
                <c:pt idx="2">
                  <c:v>0.0070088500392985155</c:v>
                </c:pt>
                <c:pt idx="3">
                  <c:v>0.02719000889247167</c:v>
                </c:pt>
                <c:pt idx="4">
                  <c:v>0.020044455361478204</c:v>
                </c:pt>
                <c:pt idx="5">
                  <c:v>0.048239760252505266</c:v>
                </c:pt>
                <c:pt idx="6">
                  <c:v>0.05342626857889881</c:v>
                </c:pt>
                <c:pt idx="7">
                  <c:v>0.07343909873367724</c:v>
                </c:pt>
                <c:pt idx="8">
                  <c:v>0.09406718943195141</c:v>
                </c:pt>
                <c:pt idx="9">
                  <c:v>0.04445554048478769</c:v>
                </c:pt>
                <c:pt idx="10">
                  <c:v>0.02804173713230622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8555044263266814</c:v>
                </c:pt>
                <c:pt idx="3">
                  <c:v>0.004304477539612479</c:v>
                </c:pt>
                <c:pt idx="4">
                  <c:v>0.00249800064031081</c:v>
                </c:pt>
                <c:pt idx="5">
                  <c:v>0.0018944437177037627</c:v>
                </c:pt>
                <c:pt idx="6">
                  <c:v>0.0005686073079345226</c:v>
                </c:pt>
                <c:pt idx="7">
                  <c:v>0.004926013258328581</c:v>
                </c:pt>
                <c:pt idx="8">
                  <c:v>0.000762715795676927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277306638252071</c:v>
                </c:pt>
                <c:pt idx="4">
                  <c:v>0.006621930151197946</c:v>
                </c:pt>
                <c:pt idx="5">
                  <c:v>0.002630313498313543</c:v>
                </c:pt>
                <c:pt idx="6">
                  <c:v>0.0008077835443588311</c:v>
                </c:pt>
                <c:pt idx="7">
                  <c:v>0.004455763674741757</c:v>
                </c:pt>
                <c:pt idx="8">
                  <c:v>0.00520870230132958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527211492062555</c:v>
                </c:pt>
                <c:pt idx="6">
                  <c:v>0.0006238487186630458</c:v>
                </c:pt>
                <c:pt idx="7">
                  <c:v>0.002969549577702798</c:v>
                </c:pt>
                <c:pt idx="8">
                  <c:v>0.00390370034518568</c:v>
                </c:pt>
                <c:pt idx="9">
                  <c:v>0.003865050445280695</c:v>
                </c:pt>
                <c:pt idx="10">
                  <c:v>0.00547557729089912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9714715681197956</c:v>
                </c:pt>
                <c:pt idx="6">
                  <c:v>0.0019327305265335508</c:v>
                </c:pt>
                <c:pt idx="7">
                  <c:v>0.004383549435656707</c:v>
                </c:pt>
                <c:pt idx="8">
                  <c:v>0.005445578445229159</c:v>
                </c:pt>
                <c:pt idx="9">
                  <c:v>0.0060801894582945045</c:v>
                </c:pt>
                <c:pt idx="10">
                  <c:v>0.00515998125559557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5</c:v>
                </c:pt>
                <c:pt idx="1">
                  <c:v>0.016390808226215213</c:v>
                </c:pt>
                <c:pt idx="2">
                  <c:v>0.028305055337770453</c:v>
                </c:pt>
                <c:pt idx="3">
                  <c:v>0.04229990034177076</c:v>
                </c:pt>
                <c:pt idx="4">
                  <c:v>0.08700220015339835</c:v>
                </c:pt>
                <c:pt idx="5">
                  <c:v>0.09608248837393922</c:v>
                </c:pt>
                <c:pt idx="6">
                  <c:v>0.11481066318864559</c:v>
                </c:pt>
                <c:pt idx="7">
                  <c:v>0.1644390142958639</c:v>
                </c:pt>
                <c:pt idx="8">
                  <c:v>0.2120006138424232</c:v>
                </c:pt>
                <c:pt idx="9">
                  <c:v>0.11609279258285989</c:v>
                </c:pt>
                <c:pt idx="10">
                  <c:v>0.0605008730541998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0729192919544397</c:v>
                </c:pt>
                <c:pt idx="1">
                  <c:v>0.009279801221383272</c:v>
                </c:pt>
                <c:pt idx="2">
                  <c:v>0.012144367982743714</c:v>
                </c:pt>
                <c:pt idx="3">
                  <c:v>0.022528117903474795</c:v>
                </c:pt>
                <c:pt idx="4">
                  <c:v>0.029428527844716033</c:v>
                </c:pt>
                <c:pt idx="5">
                  <c:v>0.05842764357068739</c:v>
                </c:pt>
                <c:pt idx="6">
                  <c:v>0.07462855920994331</c:v>
                </c:pt>
                <c:pt idx="7">
                  <c:v>0.10156483467103677</c:v>
                </c:pt>
                <c:pt idx="8">
                  <c:v>0.14636169077848524</c:v>
                </c:pt>
                <c:pt idx="9">
                  <c:v>0.05900316036313539</c:v>
                </c:pt>
                <c:pt idx="10">
                  <c:v>0.04669183620917171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07415752744658849</c:v>
                </c:pt>
                <c:pt idx="6">
                  <c:v>0.000984816634172425</c:v>
                </c:pt>
                <c:pt idx="7">
                  <c:v>0.0020439338678217376</c:v>
                </c:pt>
                <c:pt idx="8">
                  <c:v>0.006032304222530698</c:v>
                </c:pt>
                <c:pt idx="9">
                  <c:v>0.000623480073118824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546231595560126</c:v>
                </c:pt>
                <c:pt idx="3">
                  <c:v>0.004025104095272611</c:v>
                </c:pt>
                <c:pt idx="4">
                  <c:v>0.009613351992774749</c:v>
                </c:pt>
                <c:pt idx="5">
                  <c:v>0.0025013886447392856</c:v>
                </c:pt>
                <c:pt idx="6">
                  <c:v>0.0006714948046681194</c:v>
                </c:pt>
                <c:pt idx="7">
                  <c:v>0.003470364711076251</c:v>
                </c:pt>
                <c:pt idx="8">
                  <c:v>0.0059867235034145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28555542524691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527211492062555</c:v>
                </c:pt>
                <c:pt idx="6">
                  <c:v>0.0006238487186630458</c:v>
                </c:pt>
                <c:pt idx="7">
                  <c:v>0.002969549577702798</c:v>
                </c:pt>
                <c:pt idx="8">
                  <c:v>0.00390370034518568</c:v>
                </c:pt>
                <c:pt idx="9">
                  <c:v>0.003865050445280695</c:v>
                </c:pt>
                <c:pt idx="10">
                  <c:v>0.00547557729089912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c:v>
                </c:pt>
                <c:pt idx="1">
                  <c:v>0.02762093286417321</c:v>
                </c:pt>
                <c:pt idx="2">
                  <c:v>0.03321975086399976</c:v>
                </c:pt>
                <c:pt idx="3">
                  <c:v>0.05067388390163951</c:v>
                </c:pt>
                <c:pt idx="4">
                  <c:v>0.08049847893797098</c:v>
                </c:pt>
                <c:pt idx="5">
                  <c:v>0.11300954238676617</c:v>
                </c:pt>
                <c:pt idx="6">
                  <c:v>0.13054828460312656</c:v>
                </c:pt>
                <c:pt idx="7">
                  <c:v>0.16999688993527615</c:v>
                </c:pt>
                <c:pt idx="8">
                  <c:v>0.17596357403605908</c:v>
                </c:pt>
                <c:pt idx="9">
                  <c:v>0.1247508482589552</c:v>
                </c:pt>
                <c:pt idx="10">
                  <c:v>0.0230206666653028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783334382924543</c:v>
                </c:pt>
                <c:pt idx="1">
                  <c:v>0.013830067103891943</c:v>
                </c:pt>
                <c:pt idx="2">
                  <c:v>0.015597828595250766</c:v>
                </c:pt>
                <c:pt idx="3">
                  <c:v>0.03313442385553859</c:v>
                </c:pt>
                <c:pt idx="4">
                  <c:v>0.03727445502707049</c:v>
                </c:pt>
                <c:pt idx="5">
                  <c:v>0.07337873488028746</c:v>
                </c:pt>
                <c:pt idx="6">
                  <c:v>0.0825184599942073</c:v>
                </c:pt>
                <c:pt idx="7">
                  <c:v>0.11670735042260552</c:v>
                </c:pt>
                <c:pt idx="8">
                  <c:v>0.12816454189675958</c:v>
                </c:pt>
                <c:pt idx="9">
                  <c:v>0.08445714009502081</c:v>
                </c:pt>
                <c:pt idx="10">
                  <c:v>0.0164664523965307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15172813773883657</c:v>
                </c:pt>
                <c:pt idx="7">
                  <c:v>0.004421767503350311</c:v>
                </c:pt>
                <c:pt idx="8">
                  <c:v>0.005295049439829231</c:v>
                </c:pt>
                <c:pt idx="9">
                  <c:v>0.000821857887832700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964570047281746</c:v>
                </c:pt>
                <c:pt idx="2">
                  <c:v>0.0010332714043895027</c:v>
                </c:pt>
                <c:pt idx="3">
                  <c:v>0.004467573043902422</c:v>
                </c:pt>
                <c:pt idx="4">
                  <c:v>0.010237677142811912</c:v>
                </c:pt>
                <c:pt idx="5">
                  <c:v>0.0025253225771895735</c:v>
                </c:pt>
                <c:pt idx="6">
                  <c:v>0.0030446009381332397</c:v>
                </c:pt>
                <c:pt idx="7">
                  <c:v>0.0035131706302403433</c:v>
                </c:pt>
                <c:pt idx="8">
                  <c:v>0.00560452062221334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0165160373637483</c:v>
                </c:pt>
                <c:pt idx="6">
                  <c:v>0.000904853378763544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6293431378912836</c:v>
                </c:pt>
                <c:pt idx="7">
                  <c:v>0.0019159741416494734</c:v>
                </c:pt>
                <c:pt idx="8">
                  <c:v>0.0015971254405960753</c:v>
                </c:pt>
                <c:pt idx="9">
                  <c:v>0.006878089411296356</c:v>
                </c:pt>
                <c:pt idx="10">
                  <c:v>0.00234982341367967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2</c:v>
                </c:pt>
                <c:pt idx="2">
                  <c:v>0.028142038356699536</c:v>
                </c:pt>
                <c:pt idx="3">
                  <c:v>0.060911867845577033</c:v>
                </c:pt>
                <c:pt idx="4">
                  <c:v>0.09316640131249332</c:v>
                </c:pt>
                <c:pt idx="5">
                  <c:v>0.09326734255645573</c:v>
                </c:pt>
                <c:pt idx="6">
                  <c:v>0.10621791691026568</c:v>
                </c:pt>
                <c:pt idx="7">
                  <c:v>0.1728631802144052</c:v>
                </c:pt>
                <c:pt idx="8">
                  <c:v>0.17086893251281687</c:v>
                </c:pt>
                <c:pt idx="9">
                  <c:v>0.13656175115690375</c:v>
                </c:pt>
                <c:pt idx="10">
                  <c:v>0.0582011505569994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748833032465532</c:v>
                </c:pt>
                <c:pt idx="1">
                  <c:v>0.004327087775888702</c:v>
                </c:pt>
                <c:pt idx="2">
                  <c:v>0.0070088500392985155</c:v>
                </c:pt>
                <c:pt idx="3">
                  <c:v>0.02719000889247167</c:v>
                </c:pt>
                <c:pt idx="4">
                  <c:v>0.020044455361478204</c:v>
                </c:pt>
                <c:pt idx="5">
                  <c:v>0.048239760252505266</c:v>
                </c:pt>
                <c:pt idx="6">
                  <c:v>0.05342626857889881</c:v>
                </c:pt>
                <c:pt idx="7">
                  <c:v>0.07343909873367724</c:v>
                </c:pt>
                <c:pt idx="8">
                  <c:v>0.09406718943195141</c:v>
                </c:pt>
                <c:pt idx="9">
                  <c:v>0.04445554048478769</c:v>
                </c:pt>
                <c:pt idx="10">
                  <c:v>0.02804173713230622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12799922555501106</c:v>
                </c:pt>
                <c:pt idx="6">
                  <c:v>0.0012240470155676164</c:v>
                </c:pt>
                <c:pt idx="7">
                  <c:v>0.001197400607047551</c:v>
                </c:pt>
                <c:pt idx="8">
                  <c:v>0.006684752227416385</c:v>
                </c:pt>
                <c:pt idx="9">
                  <c:v>0.000769420018421979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277306638252071</c:v>
                </c:pt>
                <c:pt idx="4">
                  <c:v>0.006621930151197946</c:v>
                </c:pt>
                <c:pt idx="5">
                  <c:v>0.002630313498313543</c:v>
                </c:pt>
                <c:pt idx="6">
                  <c:v>0.0008077835443588311</c:v>
                </c:pt>
                <c:pt idx="7">
                  <c:v>0.004455763674741757</c:v>
                </c:pt>
                <c:pt idx="8">
                  <c:v>0.00520870230132958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630103946956286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9714715681197956</c:v>
                </c:pt>
                <c:pt idx="6">
                  <c:v>0.0019327305265335508</c:v>
                </c:pt>
                <c:pt idx="7">
                  <c:v>0.004383549435656707</c:v>
                </c:pt>
                <c:pt idx="8">
                  <c:v>0.005445578445229159</c:v>
                </c:pt>
                <c:pt idx="9">
                  <c:v>0.0060801894582945045</c:v>
                </c:pt>
                <c:pt idx="10">
                  <c:v>0.00515998125559557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5035618562984093</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2"/>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954560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4243973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8385930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214684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7064032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5242593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23076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0575152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9847765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31861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014814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264286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324620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2787921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6215936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624368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8853997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6095234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1393776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8080513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270096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236269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401957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9390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1356400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972513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7445785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2:4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